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6616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6926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cm.co.uk/planner" TargetMode="External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23C0C25-0C76-4761-9594-3CC54922947A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094" t="14198" b="29292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0 Jun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Bryce Dallas Howard, Chris Pratt, Sam Neill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Colin Trevorrow (Jurassic World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Jurassic World: Fallen Kingdo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</a:t>
            </a:r>
            <a:r>
              <a:rPr lang="en-US" i="1" dirty="0">
                <a:solidFill>
                  <a:schemeClr val="accent6"/>
                </a:solidFill>
              </a:rPr>
              <a:t>Jurassic Park </a:t>
            </a:r>
            <a:r>
              <a:rPr lang="en-US" dirty="0">
                <a:solidFill>
                  <a:schemeClr val="accent6"/>
                </a:solidFill>
              </a:rPr>
              <a:t>films are a legendary part of film culture, and this new instalments brings together the cast of the original films with the heroes of the new trilogy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6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.5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b="0" dirty="0"/>
              <a:t>Plot tightly under wraps. Conclusion to the new </a:t>
            </a:r>
            <a:r>
              <a:rPr lang="en-US" b="0" i="1" dirty="0"/>
              <a:t>Jurassic Park </a:t>
            </a:r>
            <a:r>
              <a:rPr lang="en-US" b="0" dirty="0"/>
              <a:t>trilogy.</a:t>
            </a:r>
            <a:endParaRPr lang="en-US" dirty="0"/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Jurassic World: Dominio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The saga concludes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3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4158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02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Jurassic World: Dominio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2 2022</dc:title>
  <dc:creator/>
  <dc:description>Jurassic World: Dominion</dc:description>
  <cp:lastModifiedBy/>
  <cp:revision>1</cp:revision>
  <dcterms:created xsi:type="dcterms:W3CDTF">2019-03-25T11:13:20Z</dcterms:created>
  <dcterms:modified xsi:type="dcterms:W3CDTF">2022-01-19T16:57:26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2 2022</vt:lpwstr>
  </property>
  <property fmtid="{D5CDD505-2E9C-101B-9397-08002B2CF9AE}" pid="4" name="SlideDescription">
    <vt:lpwstr>Jurassic World: Dominion</vt:lpwstr>
  </property>
</Properties>
</file>